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ms-powerpoint.presentation.macroEnabled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078559032" r:id="rId5"/>
    <p:sldId id="2078559034" r:id="rId6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62">
          <p15:clr>
            <a:srgbClr val="A4A3A4"/>
          </p15:clr>
        </p15:guide>
        <p15:guide id="4" orient="horz" pos="3974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257">
          <p15:clr>
            <a:srgbClr val="A4A3A4"/>
          </p15:clr>
        </p15:guide>
        <p15:guide id="7" pos="74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9D31"/>
    <a:srgbClr val="FDA100"/>
    <a:srgbClr val="756F6F"/>
    <a:srgbClr val="000000"/>
    <a:srgbClr val="404041"/>
    <a:srgbClr val="F2F2F2"/>
    <a:srgbClr val="00A1DE"/>
    <a:srgbClr val="A2AD00"/>
    <a:srgbClr val="FDC82F"/>
    <a:srgbClr val="FF7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20" autoAdjust="0"/>
    <p:restoredTop sz="94660"/>
  </p:normalViewPr>
  <p:slideViewPr>
    <p:cSldViewPr showGuides="1">
      <p:cViewPr varScale="1">
        <p:scale>
          <a:sx n="160" d="100"/>
          <a:sy n="160" d="100"/>
        </p:scale>
        <p:origin x="390" y="138"/>
      </p:cViewPr>
      <p:guideLst>
        <p:guide orient="horz" pos="2160"/>
        <p:guide pos="3840"/>
        <p:guide orient="horz" pos="1162"/>
        <p:guide orient="horz" pos="3974"/>
        <p:guide orient="horz" pos="210"/>
        <p:guide pos="257"/>
        <p:guide pos="74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6" d="100"/>
          <a:sy n="86" d="100"/>
        </p:scale>
        <p:origin x="-381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C61CC-17BC-4113-9E3F-E301573EEB4A}" type="datetimeFigureOut">
              <a:rPr lang="fi-FI" sz="800" smtClean="0"/>
              <a:t>31.3.2025</a:t>
            </a:fld>
            <a:endParaRPr lang="fi-FI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3E736E-A8D8-49F8-AAF9-3FA46C2315A9}" type="slidenum">
              <a:rPr lang="fi-FI" sz="800" smtClean="0"/>
              <a:t>‹#›</a:t>
            </a:fld>
            <a:endParaRPr lang="fi-FI" sz="800"/>
          </a:p>
        </p:txBody>
      </p:sp>
    </p:spTree>
    <p:extLst>
      <p:ext uri="{BB962C8B-B14F-4D97-AF65-F5344CB8AC3E}">
        <p14:creationId xmlns:p14="http://schemas.microsoft.com/office/powerpoint/2010/main" val="16245482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A283631E-EBC9-4E9F-899E-7E0EA738185C}" type="datetimeFigureOut">
              <a:rPr lang="fi-FI" smtClean="0"/>
              <a:pPr/>
              <a:t>31.3.2025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0D9B3451-8286-48BB-AE4F-95738AF79201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232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9B3451-8286-48BB-AE4F-95738AF79201}" type="slidenum">
              <a:rPr lang="fi-FI" smtClean="0"/>
              <a:pPr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99021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60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B18748B-A1A6-45E9-A4A1-FBF67E69C8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375275" y="0"/>
            <a:ext cx="6816725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79170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5E87FD4-3FE5-4E7C-82C1-8B972D4C0D02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375275" y="0"/>
            <a:ext cx="6816725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713437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rcRect/>
            <a:stretch>
              <a:fillRect t="-63" b="-6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B18748B-A1A6-45E9-A4A1-FBF67E69C8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857021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5E87FD4-3FE5-4E7C-82C1-8B972D4C0D02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962607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B18748B-A1A6-45E9-A4A1-FBF67E69C8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4381025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5E87FD4-3FE5-4E7C-82C1-8B972D4C0D02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90188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844675"/>
            <a:ext cx="5616002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11" y="1844675"/>
            <a:ext cx="5616002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8554F-5388-40E1-9354-E2C84D00F470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1955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844675"/>
            <a:ext cx="3671788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2224" y="1844675"/>
            <a:ext cx="3671788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B5414-E4FC-4754-87E7-2944E31F6077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4223740" y="1844675"/>
            <a:ext cx="3744520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188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24563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240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9770" y="1124680"/>
            <a:ext cx="7344243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9771" y="2205038"/>
            <a:ext cx="7344242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007709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A36-B79C-4441-B223-D3078DC8C4E4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76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756F6F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180A450-C082-4E98-A68B-F5A1D1A318D9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71758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-3" y="6777038"/>
            <a:ext cx="9840916" cy="80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 rot="10800000">
            <a:off x="9840910" y="6777038"/>
            <a:ext cx="2351087" cy="809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88896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-3" y="6777038"/>
            <a:ext cx="9840916" cy="80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 rot="10800000">
            <a:off x="9840910" y="6777038"/>
            <a:ext cx="2351087" cy="809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7606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64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860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154A5C4-FEFA-6F40-8BAA-178A1715239B}"/>
              </a:ext>
            </a:extLst>
          </p:cNvPr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1843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D7DC217-A9A3-E14B-98DD-9DF9E798DB9B}"/>
              </a:ext>
            </a:extLst>
          </p:cNvPr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rcRect/>
            <a:stretch>
              <a:fillRect l="-67349" t="-413" r="-35861" b="-119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850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PIC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316C6F5-FC9C-C647-A03C-8EC174055D6A}"/>
              </a:ext>
            </a:extLst>
          </p:cNvPr>
          <p:cNvSpPr/>
          <p:nvPr userDrawn="1"/>
        </p:nvSpPr>
        <p:spPr>
          <a:xfrm>
            <a:off x="9162" y="0"/>
            <a:ext cx="6023992" cy="677703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010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1653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4007768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9770" y="1124680"/>
            <a:ext cx="7344243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9771" y="2205038"/>
            <a:ext cx="7344242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A36-B79C-4441-B223-D3078DC8C4E4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4738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4007768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9770" y="1124680"/>
            <a:ext cx="7344243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9771" y="2205038"/>
            <a:ext cx="7344242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A36-B79C-4441-B223-D3078DC8C4E4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75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180A450-C082-4E98-A68B-F5A1D1A318D9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80685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7988" y="1844675"/>
            <a:ext cx="5616001" cy="64819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564879"/>
            <a:ext cx="5616001" cy="37438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8010" y="1844675"/>
            <a:ext cx="5616002" cy="64819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10" y="2564879"/>
            <a:ext cx="5616002" cy="37438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49279-F7F1-49F8-B789-176EF1FBCAC5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463307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1844781"/>
            <a:ext cx="5616001" cy="44639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8010" y="1844675"/>
            <a:ext cx="5616002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364FC-F60B-4C42-9449-E43AEA6DECA6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6168010" y="2996940"/>
            <a:ext cx="5616003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41986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8010" y="1844675"/>
            <a:ext cx="5616002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44D428-5EF1-4E3C-8CA7-4B0A88580A85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6168010" y="2996940"/>
            <a:ext cx="5616003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1844675"/>
            <a:ext cx="5616002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6"/>
          </p:nvPr>
        </p:nvSpPr>
        <p:spPr>
          <a:xfrm>
            <a:off x="407988" y="2996940"/>
            <a:ext cx="5616003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304802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8112124" y="1844675"/>
            <a:ext cx="3671887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5C3EE0-9E29-40A1-B6F9-407387F53145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8112125" y="2996940"/>
            <a:ext cx="3671888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1844675"/>
            <a:ext cx="3671886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6"/>
          </p:nvPr>
        </p:nvSpPr>
        <p:spPr>
          <a:xfrm>
            <a:off x="407988" y="2996940"/>
            <a:ext cx="3671887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223740" y="1844675"/>
            <a:ext cx="3744520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223740" y="2996940"/>
            <a:ext cx="3744521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333461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10D3AB-183B-4925-ADEE-2EC85F3A43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4" y="1844676"/>
            <a:ext cx="10658472" cy="2016384"/>
          </a:xfrm>
        </p:spPr>
        <p:txBody>
          <a:bodyPr anchor="b" anchorCtr="0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784524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52D3B-0A82-452A-B151-8CF419CA90E8}" type="datetime1">
              <a:rPr lang="fi-FI" smtClean="0"/>
              <a:t>31.3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2609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054D0-1546-4326-ACA2-7CABDB2FC1FB}" type="datetime1">
              <a:rPr lang="fi-FI" smtClean="0"/>
              <a:t>31.3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355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5E549-A1EA-406A-86EB-C5462D24BFEA}" type="datetime1">
              <a:rPr lang="fi-FI" smtClean="0"/>
              <a:t>31.3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3"/>
          <p:cNvSpPr>
            <a:spLocks noGrp="1"/>
          </p:cNvSpPr>
          <p:nvPr>
            <p:ph sz="quarter" idx="21"/>
          </p:nvPr>
        </p:nvSpPr>
        <p:spPr>
          <a:xfrm>
            <a:off x="407988" y="1340710"/>
            <a:ext cx="3239672" cy="2376330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22"/>
          </p:nvPr>
        </p:nvSpPr>
        <p:spPr>
          <a:xfrm>
            <a:off x="3863454" y="1340710"/>
            <a:ext cx="3240686" cy="2376330"/>
          </a:xfrm>
          <a:solidFill>
            <a:schemeClr val="accent4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23"/>
          </p:nvPr>
        </p:nvSpPr>
        <p:spPr>
          <a:xfrm>
            <a:off x="7320170" y="1340710"/>
            <a:ext cx="3240450" cy="2376330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24"/>
          </p:nvPr>
        </p:nvSpPr>
        <p:spPr>
          <a:xfrm>
            <a:off x="407988" y="3933069"/>
            <a:ext cx="3239672" cy="2375656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25"/>
          </p:nvPr>
        </p:nvSpPr>
        <p:spPr>
          <a:xfrm>
            <a:off x="3863454" y="3933069"/>
            <a:ext cx="3240686" cy="2375656"/>
          </a:xfrm>
          <a:solidFill>
            <a:schemeClr val="accent3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6"/>
          </p:nvPr>
        </p:nvSpPr>
        <p:spPr>
          <a:xfrm>
            <a:off x="7320170" y="3933069"/>
            <a:ext cx="3240450" cy="2375656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94726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20A9-3E09-42C7-A946-B5844503DEE6}" type="datetime1">
              <a:rPr lang="fi-FI" smtClean="0"/>
              <a:t>31.3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3"/>
          <p:cNvSpPr>
            <a:spLocks noGrp="1"/>
          </p:cNvSpPr>
          <p:nvPr>
            <p:ph sz="quarter" idx="21"/>
          </p:nvPr>
        </p:nvSpPr>
        <p:spPr>
          <a:xfrm>
            <a:off x="407988" y="1340710"/>
            <a:ext cx="2663592" cy="2376330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22"/>
          </p:nvPr>
        </p:nvSpPr>
        <p:spPr>
          <a:xfrm>
            <a:off x="3287610" y="1340710"/>
            <a:ext cx="2664370" cy="2376330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23"/>
          </p:nvPr>
        </p:nvSpPr>
        <p:spPr>
          <a:xfrm>
            <a:off x="6168010" y="1340710"/>
            <a:ext cx="2664370" cy="2376330"/>
          </a:xfrm>
          <a:solidFill>
            <a:schemeClr val="accent3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24"/>
          </p:nvPr>
        </p:nvSpPr>
        <p:spPr>
          <a:xfrm>
            <a:off x="407988" y="3933069"/>
            <a:ext cx="4103792" cy="2375656"/>
          </a:xfrm>
          <a:solidFill>
            <a:schemeClr val="accent4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25"/>
          </p:nvPr>
        </p:nvSpPr>
        <p:spPr>
          <a:xfrm>
            <a:off x="4727810" y="3933069"/>
            <a:ext cx="4104570" cy="2375656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7"/>
          </p:nvPr>
        </p:nvSpPr>
        <p:spPr>
          <a:xfrm>
            <a:off x="9047633" y="1340709"/>
            <a:ext cx="2736380" cy="4968015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0536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7278BB6-9B40-455C-97E4-38F027DEA00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66764" y="1844676"/>
            <a:ext cx="10658472" cy="2016124"/>
          </a:xfrm>
        </p:spPr>
        <p:txBody>
          <a:bodyPr anchor="b" anchorCtr="0"/>
          <a:lstStyle>
            <a:lvl1pPr algn="ctr">
              <a:defRPr sz="6000" baseline="0"/>
            </a:lvl1pPr>
          </a:lstStyle>
          <a:p>
            <a:r>
              <a:rPr lang="en-US" dirty="0"/>
              <a:t>Type your thank you message here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50776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chemeClr val="tx1">
              <a:alpha val="40000"/>
            </a:scheme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</p:grpSpPr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61897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D557D12-D591-4A09-8EE7-1726893C57EF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8F0215-4D61-FE4F-B1ED-641D15782CFF}"/>
              </a:ext>
            </a:extLst>
          </p:cNvPr>
          <p:cNvSpPr txBox="1"/>
          <p:nvPr userDrawn="1"/>
        </p:nvSpPr>
        <p:spPr>
          <a:xfrm>
            <a:off x="407988" y="3013501"/>
            <a:ext cx="11376526" cy="83099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i-FI" sz="6000" b="1" dirty="0">
                <a:solidFill>
                  <a:schemeClr val="accent1"/>
                </a:solidFill>
              </a:rPr>
              <a:t>Health for life</a:t>
            </a:r>
          </a:p>
        </p:txBody>
      </p:sp>
    </p:spTree>
    <p:extLst>
      <p:ext uri="{BB962C8B-B14F-4D97-AF65-F5344CB8AC3E}">
        <p14:creationId xmlns:p14="http://schemas.microsoft.com/office/powerpoint/2010/main" val="27107715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4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chemeClr val="tx1">
              <a:alpha val="40000"/>
            </a:scheme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4974412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3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76C8677-740D-B64B-B05C-5FCDB41A57EC}"/>
              </a:ext>
            </a:extLst>
          </p:cNvPr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</p:grpSpPr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37004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5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31604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B1AD3-FEAC-43DB-8D36-05099AFB3BF3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485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F36E65-1C02-488D-8489-FFE3CD1B443F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263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10073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844675"/>
            <a:ext cx="11376024" cy="4464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07988" y="6525430"/>
            <a:ext cx="1943492" cy="1436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6DF36AB6-BB87-415D-B747-79A0C3BF3CF3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51480" y="6525430"/>
            <a:ext cx="7489433" cy="1436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40913" y="6525430"/>
            <a:ext cx="1943100" cy="1436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(c)" hidden="1"/>
          <p:cNvSpPr txBox="1"/>
          <p:nvPr userDrawn="1"/>
        </p:nvSpPr>
        <p:spPr>
          <a:xfrm>
            <a:off x="11952855" y="6891795"/>
            <a:ext cx="232435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Oriola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Rectangle 27"/>
          <p:cNvSpPr/>
          <p:nvPr userDrawn="1"/>
        </p:nvSpPr>
        <p:spPr>
          <a:xfrm rot="10800000">
            <a:off x="-3" y="6777038"/>
            <a:ext cx="9840916" cy="80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 rot="10800000">
            <a:off x="9840910" y="6777038"/>
            <a:ext cx="2351087" cy="809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1495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28" r:id="rId3"/>
    <p:sldLayoutId id="2147483710" r:id="rId4"/>
    <p:sldLayoutId id="2147483733" r:id="rId5"/>
    <p:sldLayoutId id="2147483712" r:id="rId6"/>
    <p:sldLayoutId id="2147483714" r:id="rId7"/>
    <p:sldLayoutId id="2147483650" r:id="rId8"/>
    <p:sldLayoutId id="2147483699" r:id="rId9"/>
    <p:sldLayoutId id="2147483651" r:id="rId10"/>
    <p:sldLayoutId id="2147483698" r:id="rId11"/>
    <p:sldLayoutId id="2147483715" r:id="rId12"/>
    <p:sldLayoutId id="2147483716" r:id="rId13"/>
    <p:sldLayoutId id="2147483731" r:id="rId14"/>
    <p:sldLayoutId id="2147483730" r:id="rId15"/>
    <p:sldLayoutId id="2147483652" r:id="rId16"/>
    <p:sldLayoutId id="2147483668" r:id="rId17"/>
    <p:sldLayoutId id="2147483669" r:id="rId18"/>
    <p:sldLayoutId id="2147483705" r:id="rId19"/>
    <p:sldLayoutId id="2147483727" r:id="rId20"/>
    <p:sldLayoutId id="2147483729" r:id="rId21"/>
    <p:sldLayoutId id="2147483719" r:id="rId22"/>
    <p:sldLayoutId id="2147483721" r:id="rId23"/>
    <p:sldLayoutId id="2147483722" r:id="rId24"/>
    <p:sldLayoutId id="2147483723" r:id="rId25"/>
    <p:sldLayoutId id="2147483734" r:id="rId26"/>
    <p:sldLayoutId id="2147483732" r:id="rId27"/>
    <p:sldLayoutId id="2147483724" r:id="rId28"/>
    <p:sldLayoutId id="2147483725" r:id="rId29"/>
    <p:sldLayoutId id="2147483653" r:id="rId30"/>
    <p:sldLayoutId id="2147483706" r:id="rId31"/>
    <p:sldLayoutId id="2147483707" r:id="rId32"/>
    <p:sldLayoutId id="2147483708" r:id="rId33"/>
    <p:sldLayoutId id="2147483662" r:id="rId34"/>
    <p:sldLayoutId id="2147483654" r:id="rId35"/>
    <p:sldLayoutId id="2147483655" r:id="rId36"/>
    <p:sldLayoutId id="2147483703" r:id="rId37"/>
    <p:sldLayoutId id="2147483704" r:id="rId38"/>
    <p:sldLayoutId id="2147483700" r:id="rId39"/>
    <p:sldLayoutId id="2147483702" r:id="rId4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1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88" indent="-27305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indent="-2667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265113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78013" indent="-274638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725" indent="-2667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693988" indent="-265113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175" indent="-274638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408363" indent="-2667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2899C7-8599-4D12-994F-76D01786D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0" imgH="333" progId="TCLayout.ActiveDocument.1">
                  <p:embed/>
                </p:oleObj>
              </mc:Choice>
              <mc:Fallback>
                <p:oleObj name="think-cell Slide" r:id="rId4" imgW="340" imgH="33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2899C7-8599-4D12-994F-76D01786D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6B67C8C-C8EE-4EB8-BB8E-3B616278F4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Nytt</a:t>
            </a:r>
            <a:r>
              <a:rPr lang="en-US" dirty="0"/>
              <a:t> Sortiment  | Kronans Apotek</a:t>
            </a:r>
            <a:br>
              <a:rPr lang="en-US" dirty="0"/>
            </a:br>
            <a:r>
              <a:rPr lang="sv-SE" sz="1600" dirty="0">
                <a:solidFill>
                  <a:schemeClr val="tx1"/>
                </a:solidFill>
              </a:rPr>
              <a:t>På följande bilder ska </a:t>
            </a:r>
            <a:r>
              <a:rPr lang="sv-SE" sz="1600" dirty="0">
                <a:solidFill>
                  <a:srgbClr val="FF7900"/>
                </a:solidFill>
              </a:rPr>
              <a:t>orange text ersättas med rätt information </a:t>
            </a:r>
            <a:r>
              <a:rPr lang="sv-SE" sz="1600" dirty="0">
                <a:solidFill>
                  <a:schemeClr val="tx1"/>
                </a:solidFill>
              </a:rPr>
              <a:t>och grå text ska vara kvar</a:t>
            </a:r>
            <a:br>
              <a:rPr lang="en-US" sz="1600" dirty="0"/>
            </a:br>
            <a:endParaRPr lang="en-US" sz="16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C1F76-4387-4164-ADDF-0F2AD37A6F1C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927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51F4AB-3391-4537-928E-CE188A4C6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52D3B-0A82-452A-B151-8CF419CA90E8}" type="datetime1">
              <a:rPr lang="fi-FI" smtClean="0"/>
              <a:t>31.3.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026684-DC61-4273-BB34-C8274E8AD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2</a:t>
            </a:fld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7D3F6F7-C478-4927-9134-55A3A6F61AF8}"/>
              </a:ext>
            </a:extLst>
          </p:cNvPr>
          <p:cNvSpPr/>
          <p:nvPr/>
        </p:nvSpPr>
        <p:spPr>
          <a:xfrm>
            <a:off x="5765571" y="1606012"/>
            <a:ext cx="6163073" cy="491941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rgbClr val="756F6F"/>
                </a:solidFill>
              </a:rPr>
              <a:t>Fyll i : </a:t>
            </a:r>
            <a:r>
              <a:rPr lang="nn-NO" sz="1200" b="1" dirty="0">
                <a:solidFill>
                  <a:srgbClr val="FDA100"/>
                </a:solidFill>
              </a:rPr>
              <a:t>Produktserie  xx alt. produktnamn xx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rgbClr val="756F6F"/>
                </a:solidFill>
              </a:rPr>
              <a:t>Här anges </a:t>
            </a:r>
            <a:r>
              <a:rPr lang="sv-SE" sz="1200" b="1" dirty="0">
                <a:solidFill>
                  <a:srgbClr val="FDA100"/>
                </a:solidFill>
              </a:rPr>
              <a:t>TYP AV PRODUKT: Medicinteknisk produkt, Kosttillskott, Läkemedel, Naturläkemedel, Växtbaserat läkemedel (VBL), Traditionellt växtbaserat läkemedel (TVBL), Vissa utvärtes medel (VUM) , Kosmetika, Biocid</a:t>
            </a:r>
            <a:endParaRPr lang="nn-NO" sz="1200" b="1" dirty="0">
              <a:solidFill>
                <a:srgbClr val="FDA100"/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Prisläge :</a:t>
            </a:r>
            <a:r>
              <a:rPr lang="nn-NO" sz="1200" b="1" dirty="0">
                <a:solidFill>
                  <a:srgbClr val="FDA100"/>
                </a:solidFill>
              </a:rPr>
              <a:t>299- 599Sek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Innehåll/aktiv substans – </a:t>
            </a:r>
            <a:r>
              <a:rPr lang="nn-NO" sz="1200" b="1" dirty="0">
                <a:solidFill>
                  <a:srgbClr val="FD9D31"/>
                </a:solidFill>
              </a:rPr>
              <a:t>xx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Användningsområde/indikation </a:t>
            </a:r>
            <a:r>
              <a:rPr lang="nn-NO" sz="1200" b="1" dirty="0">
                <a:solidFill>
                  <a:srgbClr val="FD9D31"/>
                </a:solidFill>
              </a:rPr>
              <a:t>– xx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Åldersgräns</a:t>
            </a:r>
            <a:r>
              <a:rPr lang="sv-SE" sz="1200" b="1" dirty="0">
                <a:solidFill>
                  <a:srgbClr val="FD9D31"/>
                </a:solidFill>
              </a:rPr>
              <a:t> – från xx år/info sakna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Rekommenderad behandlingstid: </a:t>
            </a:r>
            <a:r>
              <a:rPr lang="sv-SE" sz="1200" b="1" dirty="0">
                <a:solidFill>
                  <a:srgbClr val="FDA100"/>
                </a:solidFill>
              </a:rPr>
              <a:t>fyll i tid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Kan användas vid graviditet </a:t>
            </a:r>
            <a:r>
              <a:rPr lang="sv-SE" sz="1200" b="1" dirty="0">
                <a:solidFill>
                  <a:srgbClr val="FD9D31"/>
                </a:solidFill>
              </a:rPr>
              <a:t>– ja/nej/info sakna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Kan användas vid amning </a:t>
            </a:r>
            <a:r>
              <a:rPr lang="sv-SE" sz="1200" b="1" dirty="0">
                <a:solidFill>
                  <a:srgbClr val="FD9D31"/>
                </a:solidFill>
              </a:rPr>
              <a:t>– ja/nej/info sakna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Vanliga biverkningar </a:t>
            </a:r>
            <a:r>
              <a:rPr lang="sv-SE" sz="1200" b="1" dirty="0">
                <a:solidFill>
                  <a:srgbClr val="FD9D31"/>
                </a:solidFill>
              </a:rPr>
              <a:t>xx/info sakna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Kombination med andra produkter </a:t>
            </a:r>
            <a:r>
              <a:rPr lang="sv-SE" sz="1200" b="1" dirty="0">
                <a:solidFill>
                  <a:srgbClr val="FD9D31"/>
                </a:solidFill>
              </a:rPr>
              <a:t>?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Varning/försiktighet </a:t>
            </a:r>
            <a:r>
              <a:rPr lang="sv-SE" sz="1200" b="1" dirty="0">
                <a:solidFill>
                  <a:srgbClr val="FD9D31"/>
                </a:solidFill>
              </a:rPr>
              <a:t>?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 err="1">
                <a:solidFill>
                  <a:schemeClr val="tx2">
                    <a:lumMod val="75000"/>
                  </a:schemeClr>
                </a:solidFill>
              </a:rPr>
              <a:t>Uspar</a:t>
            </a: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sv-SE" sz="1200" b="1" dirty="0">
                <a:solidFill>
                  <a:srgbClr val="FD9D31"/>
                </a:solidFill>
              </a:rPr>
              <a:t>?</a:t>
            </a:r>
          </a:p>
          <a:p>
            <a:pPr>
              <a:spcAft>
                <a:spcPts val="1200"/>
              </a:spcAft>
            </a:pPr>
            <a:endParaRPr lang="sv-SE" sz="1200" b="1" dirty="0">
              <a:solidFill>
                <a:schemeClr val="tx2">
                  <a:lumMod val="75000"/>
                </a:schemeClr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sv-SE" sz="1200" b="1" dirty="0">
              <a:solidFill>
                <a:srgbClr val="FD9D31"/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sv-SE" sz="1200" b="1" dirty="0">
              <a:solidFill>
                <a:srgbClr val="FD9D31"/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200" b="1" dirty="0">
              <a:solidFill>
                <a:srgbClr val="FD9D31"/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200" b="1" dirty="0">
              <a:solidFill>
                <a:srgbClr val="FD9D31"/>
              </a:solidFill>
            </a:endParaRPr>
          </a:p>
          <a:p>
            <a:pPr>
              <a:spcAft>
                <a:spcPts val="1200"/>
              </a:spcAft>
            </a:pPr>
            <a:br>
              <a:rPr lang="nn-NO" sz="1200" dirty="0">
                <a:solidFill>
                  <a:srgbClr val="000000"/>
                </a:solidFill>
              </a:rPr>
            </a:br>
            <a:endParaRPr lang="nn-NO" sz="1200" dirty="0">
              <a:solidFill>
                <a:srgbClr val="000000"/>
              </a:solidFill>
            </a:endParaRPr>
          </a:p>
          <a:p>
            <a:pPr>
              <a:spcAft>
                <a:spcPts val="1200"/>
              </a:spcAft>
            </a:pPr>
            <a:endParaRPr lang="nn-NO" sz="1200" b="1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spcAft>
                <a:spcPts val="1200"/>
              </a:spcAft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spcAft>
                <a:spcPts val="1200"/>
              </a:spcAft>
            </a:pPr>
            <a:endParaRPr lang="nn-NO" sz="1000" dirty="0">
              <a:solidFill>
                <a:srgbClr val="FF0000"/>
              </a:solidFill>
            </a:endParaRPr>
          </a:p>
          <a:p>
            <a:pPr>
              <a:spcAft>
                <a:spcPts val="1200"/>
              </a:spcAft>
            </a:pPr>
            <a:endParaRPr lang="nn-NO" sz="1050" dirty="0">
              <a:solidFill>
                <a:schemeClr val="tx1"/>
              </a:solidFill>
            </a:endParaRPr>
          </a:p>
        </p:txBody>
      </p:sp>
      <p:sp>
        <p:nvSpPr>
          <p:cNvPr id="37" name="TextBox 21">
            <a:extLst>
              <a:ext uri="{FF2B5EF4-FFF2-40B4-BE49-F238E27FC236}">
                <a16:creationId xmlns:a16="http://schemas.microsoft.com/office/drawing/2014/main" id="{CEF3B545-1B0B-49C7-8285-4DC91E855356}"/>
              </a:ext>
            </a:extLst>
          </p:cNvPr>
          <p:cNvSpPr txBox="1"/>
          <p:nvPr/>
        </p:nvSpPr>
        <p:spPr>
          <a:xfrm>
            <a:off x="5753798" y="1224095"/>
            <a:ext cx="6174846" cy="307777"/>
          </a:xfrm>
          <a:prstGeom prst="rect">
            <a:avLst/>
          </a:prstGeom>
          <a:solidFill>
            <a:srgbClr val="FDA1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Fakta </a:t>
            </a:r>
            <a:r>
              <a:rPr lang="sv-SE" sz="1400" b="1" dirty="0"/>
              <a:t> </a:t>
            </a:r>
          </a:p>
        </p:txBody>
      </p:sp>
      <p:sp>
        <p:nvSpPr>
          <p:cNvPr id="44" name="Rectangle: Rounded Corners 68">
            <a:extLst>
              <a:ext uri="{FF2B5EF4-FFF2-40B4-BE49-F238E27FC236}">
                <a16:creationId xmlns:a16="http://schemas.microsoft.com/office/drawing/2014/main" id="{34D08053-6A83-4734-8EDA-8CE19D002C73}"/>
              </a:ext>
            </a:extLst>
          </p:cNvPr>
          <p:cNvSpPr/>
          <p:nvPr/>
        </p:nvSpPr>
        <p:spPr>
          <a:xfrm>
            <a:off x="414919" y="1606012"/>
            <a:ext cx="4672970" cy="4919418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t"/>
          <a:lstStyle/>
          <a:p>
            <a:pPr lvl="1"/>
            <a:endParaRPr lang="sv-SE" sz="1200">
              <a:solidFill>
                <a:schemeClr val="tx1"/>
              </a:solidFill>
            </a:endParaRPr>
          </a:p>
        </p:txBody>
      </p:sp>
      <p:sp>
        <p:nvSpPr>
          <p:cNvPr id="53" name="Isosceles Triangle 7">
            <a:extLst>
              <a:ext uri="{FF2B5EF4-FFF2-40B4-BE49-F238E27FC236}">
                <a16:creationId xmlns:a16="http://schemas.microsoft.com/office/drawing/2014/main" id="{B2F3F89B-AA95-494D-933E-E3B43B33EAE8}"/>
              </a:ext>
            </a:extLst>
          </p:cNvPr>
          <p:cNvSpPr/>
          <p:nvPr/>
        </p:nvSpPr>
        <p:spPr>
          <a:xfrm rot="5400000">
            <a:off x="4361211" y="4072608"/>
            <a:ext cx="2160001" cy="15256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20">
            <a:extLst>
              <a:ext uri="{FF2B5EF4-FFF2-40B4-BE49-F238E27FC236}">
                <a16:creationId xmlns:a16="http://schemas.microsoft.com/office/drawing/2014/main" id="{1255A5FA-C22E-4474-8887-3497A27BD845}"/>
              </a:ext>
            </a:extLst>
          </p:cNvPr>
          <p:cNvSpPr txBox="1"/>
          <p:nvPr/>
        </p:nvSpPr>
        <p:spPr>
          <a:xfrm>
            <a:off x="407989" y="1224096"/>
            <a:ext cx="4672970" cy="307777"/>
          </a:xfrm>
          <a:prstGeom prst="rect">
            <a:avLst/>
          </a:prstGeom>
          <a:solidFill>
            <a:srgbClr val="FD9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400" b="1" u="sng" dirty="0">
                <a:solidFill>
                  <a:schemeClr val="bg1"/>
                </a:solidFill>
              </a:rPr>
              <a:t>Varumärkets el produkt namn </a:t>
            </a:r>
            <a:endParaRPr lang="sv-SE" sz="800" b="1" u="sng" dirty="0">
              <a:solidFill>
                <a:schemeClr val="bg1"/>
              </a:solidFill>
            </a:endParaRPr>
          </a:p>
        </p:txBody>
      </p:sp>
      <p:sp>
        <p:nvSpPr>
          <p:cNvPr id="30" name="Title 4">
            <a:extLst>
              <a:ext uri="{FF2B5EF4-FFF2-40B4-BE49-F238E27FC236}">
                <a16:creationId xmlns:a16="http://schemas.microsoft.com/office/drawing/2014/main" id="{77837220-0C70-4D01-9F65-C21C5EC5F8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4919" y="239079"/>
            <a:ext cx="9432925" cy="10080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>
                <a:solidFill>
                  <a:srgbClr val="FD9D31"/>
                </a:solidFill>
              </a:rPr>
              <a:t> Nytt sortiment | Kronans Apotek | Revidering v. </a:t>
            </a:r>
            <a:br>
              <a:rPr lang="sv-SE" dirty="0">
                <a:solidFill>
                  <a:srgbClr val="FD9D31"/>
                </a:solidFill>
              </a:rPr>
            </a:br>
            <a:endParaRPr lang="sv-SE" i="1" dirty="0">
              <a:solidFill>
                <a:srgbClr val="FD9D31"/>
              </a:solidFill>
            </a:endParaRPr>
          </a:p>
        </p:txBody>
      </p:sp>
      <p:sp>
        <p:nvSpPr>
          <p:cNvPr id="16" name="Platshållare för innehåll 9">
            <a:extLst>
              <a:ext uri="{FF2B5EF4-FFF2-40B4-BE49-F238E27FC236}">
                <a16:creationId xmlns:a16="http://schemas.microsoft.com/office/drawing/2014/main" id="{591B7DEA-552D-4BDF-AE83-F9D35B131FE8}"/>
              </a:ext>
            </a:extLst>
          </p:cNvPr>
          <p:cNvSpPr txBox="1">
            <a:spLocks/>
          </p:cNvSpPr>
          <p:nvPr/>
        </p:nvSpPr>
        <p:spPr>
          <a:xfrm>
            <a:off x="1559496" y="5278821"/>
            <a:ext cx="3303313" cy="420522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tbild/produktbilder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A75B2E66-C921-4EA8-99B2-DC4E4517EA68}"/>
              </a:ext>
            </a:extLst>
          </p:cNvPr>
          <p:cNvSpPr/>
          <p:nvPr/>
        </p:nvSpPr>
        <p:spPr>
          <a:xfrm>
            <a:off x="1149921" y="2412171"/>
            <a:ext cx="3168352" cy="279251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5" name="Bild 14" descr="Medicin">
            <a:extLst>
              <a:ext uri="{FF2B5EF4-FFF2-40B4-BE49-F238E27FC236}">
                <a16:creationId xmlns:a16="http://schemas.microsoft.com/office/drawing/2014/main" id="{128242B9-4CF4-40ED-844D-F7DDC67236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5484" y="2782480"/>
            <a:ext cx="1998398" cy="1998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40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u7ZdudH8a7LQ_FO_JkiA"/>
</p:tagLst>
</file>

<file path=ppt/theme/theme1.xml><?xml version="1.0" encoding="utf-8"?>
<a:theme xmlns:a="http://schemas.openxmlformats.org/drawingml/2006/main" name="Kronans">
  <a:themeElements>
    <a:clrScheme name="Oriola 2018">
      <a:dk1>
        <a:srgbClr val="756F6F"/>
      </a:dk1>
      <a:lt1>
        <a:srgbClr val="FFFFFF"/>
      </a:lt1>
      <a:dk2>
        <a:srgbClr val="A29791"/>
      </a:dk2>
      <a:lt2>
        <a:srgbClr val="E7E6E6"/>
      </a:lt2>
      <a:accent1>
        <a:srgbClr val="FFA000"/>
      </a:accent1>
      <a:accent2>
        <a:srgbClr val="2B3E5B"/>
      </a:accent2>
      <a:accent3>
        <a:srgbClr val="A29790"/>
      </a:accent3>
      <a:accent4>
        <a:srgbClr val="5B78A5"/>
      </a:accent4>
      <a:accent5>
        <a:srgbClr val="CBD7E6"/>
      </a:accent5>
      <a:accent6>
        <a:srgbClr val="756F6F"/>
      </a:accent6>
      <a:hlink>
        <a:srgbClr val="5A78A5"/>
      </a:hlink>
      <a:folHlink>
        <a:srgbClr val="FFA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potek_template_190531" id="{D74E3C88-D3E4-0946-8611-57A2B7CD77FE}" vid="{8AD43AA0-2655-144A-AEBF-239FCD533514}"/>
    </a:ext>
  </a:extLst>
</a:theme>
</file>

<file path=ppt/theme/theme2.xml><?xml version="1.0" encoding="utf-8"?>
<a:theme xmlns:a="http://schemas.openxmlformats.org/drawingml/2006/main" name="Office Theme">
  <a:themeElements>
    <a:clrScheme name="Oriola 2018">
      <a:dk1>
        <a:srgbClr val="756F6F"/>
      </a:dk1>
      <a:lt1>
        <a:srgbClr val="FFFFFF"/>
      </a:lt1>
      <a:dk2>
        <a:srgbClr val="A29791"/>
      </a:dk2>
      <a:lt2>
        <a:srgbClr val="E7E6E6"/>
      </a:lt2>
      <a:accent1>
        <a:srgbClr val="FFA000"/>
      </a:accent1>
      <a:accent2>
        <a:srgbClr val="2B3E5B"/>
      </a:accent2>
      <a:accent3>
        <a:srgbClr val="A29790"/>
      </a:accent3>
      <a:accent4>
        <a:srgbClr val="5B78A5"/>
      </a:accent4>
      <a:accent5>
        <a:srgbClr val="CBD7E6"/>
      </a:accent5>
      <a:accent6>
        <a:srgbClr val="756F6F"/>
      </a:accent6>
      <a:hlink>
        <a:srgbClr val="5A78A5"/>
      </a:hlink>
      <a:folHlink>
        <a:srgbClr val="FFA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riola 2018">
      <a:dk1>
        <a:srgbClr val="756F6F"/>
      </a:dk1>
      <a:lt1>
        <a:srgbClr val="FFFFFF"/>
      </a:lt1>
      <a:dk2>
        <a:srgbClr val="A29791"/>
      </a:dk2>
      <a:lt2>
        <a:srgbClr val="E7E6E6"/>
      </a:lt2>
      <a:accent1>
        <a:srgbClr val="FFA000"/>
      </a:accent1>
      <a:accent2>
        <a:srgbClr val="2B3E5B"/>
      </a:accent2>
      <a:accent3>
        <a:srgbClr val="A29790"/>
      </a:accent3>
      <a:accent4>
        <a:srgbClr val="5B78A5"/>
      </a:accent4>
      <a:accent5>
        <a:srgbClr val="CBD7E6"/>
      </a:accent5>
      <a:accent6>
        <a:srgbClr val="756F6F"/>
      </a:accent6>
      <a:hlink>
        <a:srgbClr val="5A78A5"/>
      </a:hlink>
      <a:folHlink>
        <a:srgbClr val="FFA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8130A3DA947324C9C8E1A6C97C92A9B" ma:contentTypeVersion="11" ma:contentTypeDescription="Skapa ett nytt dokument." ma:contentTypeScope="" ma:versionID="583de8fb8f6f168337f428064e530e52">
  <xsd:schema xmlns:xsd="http://www.w3.org/2001/XMLSchema" xmlns:xs="http://www.w3.org/2001/XMLSchema" xmlns:p="http://schemas.microsoft.com/office/2006/metadata/properties" xmlns:ns2="41921a93-e2c8-41c0-9e4c-da4deb834170" xmlns:ns3="a650b5cc-48b0-44be-a6fb-b45afdbb1d37" targetNamespace="http://schemas.microsoft.com/office/2006/metadata/properties" ma:root="true" ma:fieldsID="0c09501aaf833afad05b2af942ebad27" ns2:_="" ns3:_="">
    <xsd:import namespace="41921a93-e2c8-41c0-9e4c-da4deb834170"/>
    <xsd:import namespace="a650b5cc-48b0-44be-a6fb-b45afdbb1d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921a93-e2c8-41c0-9e4c-da4deb8341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eringar" ma:readOnly="false" ma:fieldId="{5cf76f15-5ced-4ddc-b409-7134ff3c332f}" ma:taxonomyMulti="true" ma:sspId="575b20e4-694d-462a-96bf-b7e949711f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0b5cc-48b0-44be-a6fb-b45afdbb1d3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a898cff-8681-42f6-a16b-659259b2a894}" ma:internalName="TaxCatchAll" ma:showField="CatchAllData" ma:web="a650b5cc-48b0-44be-a6fb-b45afdbb1d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1921a93-e2c8-41c0-9e4c-da4deb834170">
      <Terms xmlns="http://schemas.microsoft.com/office/infopath/2007/PartnerControls"/>
    </lcf76f155ced4ddcb4097134ff3c332f>
    <TaxCatchAll xmlns="a650b5cc-48b0-44be-a6fb-b45afdbb1d37" xsi:nil="true"/>
  </documentManagement>
</p:properties>
</file>

<file path=customXml/itemProps1.xml><?xml version="1.0" encoding="utf-8"?>
<ds:datastoreItem xmlns:ds="http://schemas.openxmlformats.org/officeDocument/2006/customXml" ds:itemID="{C20D0C93-31D1-4600-8B8D-92D15E39CF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921a93-e2c8-41c0-9e4c-da4deb834170"/>
    <ds:schemaRef ds:uri="a650b5cc-48b0-44be-a6fb-b45afdbb1d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0211070-BF72-4FAE-9C50-092D7FB8FF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AA32C4E-2D0A-42E8-92B5-A52E7F83DF37}">
  <ds:schemaRefs>
    <ds:schemaRef ds:uri="http://schemas.microsoft.com/office/2006/documentManagement/types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41921a93-e2c8-41c0-9e4c-da4deb834170"/>
    <ds:schemaRef ds:uri="a650b5cc-48b0-44be-a6fb-b45afdbb1d37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otek_template</Template>
  <TotalTime>27525</TotalTime>
  <Words>162</Words>
  <Application>Microsoft Office PowerPoint</Application>
  <PresentationFormat>Bredbild</PresentationFormat>
  <Paragraphs>34</Paragraphs>
  <Slides>2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</vt:i4>
      </vt:variant>
    </vt:vector>
  </HeadingPairs>
  <TitlesOfParts>
    <vt:vector size="6" baseType="lpstr">
      <vt:lpstr>Arial</vt:lpstr>
      <vt:lpstr>Calibri</vt:lpstr>
      <vt:lpstr>Kronans</vt:lpstr>
      <vt:lpstr>think-cell Slide</vt:lpstr>
      <vt:lpstr>Nytt Sortiment  | Kronans Apotek På följande bilder ska orange text ersättas med rätt information och grå text ska vara kvar </vt:lpstr>
      <vt:lpstr> Nytt sortiment | Kronans Apotek | Revidering v.  </vt:lpstr>
    </vt:vector>
  </TitlesOfParts>
  <Company>Ori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llin Andreas</dc:creator>
  <cp:lastModifiedBy>Maria Ståhl</cp:lastModifiedBy>
  <cp:revision>591</cp:revision>
  <dcterms:created xsi:type="dcterms:W3CDTF">2020-12-03T14:26:59Z</dcterms:created>
  <dcterms:modified xsi:type="dcterms:W3CDTF">2025-03-31T15:1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130A3DA947324C9C8E1A6C97C92A9B</vt:lpwstr>
  </property>
  <property fmtid="{D5CDD505-2E9C-101B-9397-08002B2CF9AE}" pid="3" name="MediaServiceImageTags">
    <vt:lpwstr/>
  </property>
</Properties>
</file>